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677" r:id="rId2"/>
  </p:sldMasterIdLst>
  <p:notesMasterIdLst>
    <p:notesMasterId r:id="rId4"/>
  </p:notesMasterIdLst>
  <p:handoutMasterIdLst>
    <p:handoutMasterId r:id="rId5"/>
  </p:handoutMasterIdLst>
  <p:sldIdLst>
    <p:sldId id="359" r:id="rId3"/>
  </p:sldIdLst>
  <p:sldSz cx="9144000" cy="6858000" type="screen4x3"/>
  <p:notesSz cx="6858000" cy="9144000"/>
  <p:custDataLst>
    <p:tags r:id="rId6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802">
          <p15:clr>
            <a:srgbClr val="A4A3A4"/>
          </p15:clr>
        </p15:guide>
        <p15:guide id="2" orient="horz" pos="935" userDrawn="1">
          <p15:clr>
            <a:srgbClr val="A4A3A4"/>
          </p15:clr>
        </p15:guide>
        <p15:guide id="3" orient="horz" pos="4023">
          <p15:clr>
            <a:srgbClr val="A4A3A4"/>
          </p15:clr>
        </p15:guide>
        <p15:guide id="4" orient="horz" pos="4165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orient="horz" pos="2480">
          <p15:clr>
            <a:srgbClr val="A4A3A4"/>
          </p15:clr>
        </p15:guide>
        <p15:guide id="7" orient="horz" pos="460">
          <p15:clr>
            <a:srgbClr val="A4A3A4"/>
          </p15:clr>
        </p15:guide>
        <p15:guide id="8" orient="horz" pos="1366" userDrawn="1">
          <p15:clr>
            <a:srgbClr val="A4A3A4"/>
          </p15:clr>
        </p15:guide>
        <p15:guide id="9" pos="204">
          <p15:clr>
            <a:srgbClr val="A4A3A4"/>
          </p15:clr>
        </p15:guide>
        <p15:guide id="10" pos="5556">
          <p15:clr>
            <a:srgbClr val="A4A3A4"/>
          </p15:clr>
        </p15:guide>
        <p15:guide id="11" pos="5446">
          <p15:clr>
            <a:srgbClr val="A4A3A4"/>
          </p15:clr>
        </p15:guide>
        <p15:guide id="12" pos="2926">
          <p15:clr>
            <a:srgbClr val="A4A3A4"/>
          </p15:clr>
        </p15:guide>
        <p15:guide id="13" pos="7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57" autoAdjust="0"/>
    <p:restoredTop sz="98024" autoAdjust="0"/>
  </p:normalViewPr>
  <p:slideViewPr>
    <p:cSldViewPr snapToGrid="0" snapToObjects="1">
      <p:cViewPr varScale="1">
        <p:scale>
          <a:sx n="106" d="100"/>
          <a:sy n="106" d="100"/>
        </p:scale>
        <p:origin x="2112" y="120"/>
      </p:cViewPr>
      <p:guideLst>
        <p:guide orient="horz" pos="802"/>
        <p:guide orient="horz" pos="935"/>
        <p:guide orient="horz" pos="4023"/>
        <p:guide orient="horz" pos="4165"/>
        <p:guide orient="horz" pos="4269"/>
        <p:guide orient="horz" pos="2480"/>
        <p:guide orient="horz" pos="460"/>
        <p:guide orient="horz" pos="1366"/>
        <p:guide pos="204"/>
        <p:guide pos="5556"/>
        <p:guide pos="5446"/>
        <p:guide pos="2926"/>
        <p:guide pos="77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3/5/2021</a:t>
            </a:fld>
            <a:endParaRPr lang="de-DE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05/03/2021</a:t>
            </a:fld>
            <a:endParaRPr lang="de-DE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buFontTx/>
              <a:buNone/>
            </a:pPr>
            <a:r>
              <a:rPr lang="en-GB" sz="800" dirty="0">
                <a:solidFill>
                  <a:srgbClr val="FFFFFF"/>
                </a:solidFill>
              </a:rPr>
              <a:t>Alle Rechte vorbehalten. Ohne vorherige schriftliche Genehmigung durch den Herausgeber darf kein Teil dieser Veröffentlichung vervielfältigt oder elektronisch verteilt werden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640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16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8113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de</a:t>
            </a:r>
            <a:endParaRPr lang="de-DE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e Rechte vorbehalten. Ohne vorherige schriftliche Genehmigung durch den Herausgeber darf kein Teil dieser Veröffentlichung vervielfältigt oder elektronisch verteilt werden. </a:t>
            </a:r>
          </a:p>
        </p:txBody>
      </p:sp>
    </p:spTree>
    <p:extLst>
      <p:ext uri="{BB962C8B-B14F-4D97-AF65-F5344CB8AC3E}">
        <p14:creationId xmlns:p14="http://schemas.microsoft.com/office/powerpoint/2010/main" val="36783078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de</a:t>
            </a:r>
            <a:endParaRPr lang="de-DE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e Rechte vorbehalten. Ohne vorherige schriftliche Genehmigung durch den Herausgeber darf kein Teil dieser Veröffentlichung vervielfältigt oder elektronisch verteilt werden. </a:t>
            </a:r>
          </a:p>
        </p:txBody>
      </p:sp>
    </p:spTree>
    <p:extLst>
      <p:ext uri="{BB962C8B-B14F-4D97-AF65-F5344CB8AC3E}">
        <p14:creationId xmlns:p14="http://schemas.microsoft.com/office/powerpoint/2010/main" val="156275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61956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1035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5046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614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98492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44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>
              <a:buFontTx/>
              <a:buNone/>
            </a:pPr>
            <a:r>
              <a:rPr lang="en-GB" sz="1000" b="1" dirty="0">
                <a:solidFill>
                  <a:srgbClr val="FFFFFF"/>
                </a:solidFill>
              </a:rPr>
              <a:t>www.sidel.de</a:t>
            </a:r>
            <a:endParaRPr lang="de-DE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buFontTx/>
              <a:buNone/>
            </a:pPr>
            <a:r>
              <a:rPr lang="en-GB" sz="800" dirty="0">
                <a:solidFill>
                  <a:srgbClr val="FFFFFF"/>
                </a:solidFill>
              </a:rPr>
              <a:t>Alle Rechte vorbehalten. Ohne vorherige schriftliche Genehmigung durch den Herausgeber darf kein Teil dieser Veröffentlichung vervielfältigt oder elektronisch verteilt werden. </a:t>
            </a:r>
          </a:p>
        </p:txBody>
      </p:sp>
    </p:spTree>
    <p:extLst>
      <p:ext uri="{BB962C8B-B14F-4D97-AF65-F5344CB8AC3E}">
        <p14:creationId xmlns:p14="http://schemas.microsoft.com/office/powerpoint/2010/main" val="2096192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e Rechte vorbehalten. Ohne vorherige schriftliche Genehmigung durch den Herausgeber darf kein Teil dieser Veröffentlichung vervielfältigt oder elektronisch verteilt werden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09577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892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9857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0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303078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1341438" y="6626225"/>
            <a:ext cx="1718419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chemeClr val="bg2"/>
                </a:solidFill>
              </a:rPr>
              <a:t>Sidel Services: Anlagenoptimierung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650875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chemeClr val="bg2"/>
                </a:solidFill>
              </a:rPr>
              <a:t>Seite </a:t>
            </a:r>
            <a:fld id="{7873E190-40CF-412D-9604-1EFCEB1508B2}" type="slidenum">
              <a:rPr lang="en-GB" smtClean="0">
                <a:solidFill>
                  <a:schemeClr val="bg2"/>
                </a:solidFill>
              </a:rPr>
              <a:pPr/>
              <a:t>‹#›</a:t>
            </a:fld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0" r:id="rId3"/>
    <p:sldLayoutId id="2147483651" r:id="rId4"/>
    <p:sldLayoutId id="2147483653" r:id="rId5"/>
    <p:sldLayoutId id="2147483656" r:id="rId6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1341438" y="6626225"/>
            <a:ext cx="1718419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Sidel Services: Anlagenoptimierung</a:t>
            </a:r>
            <a:endParaRPr lang="de-DE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650875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eit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de-DE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21966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2676848"/>
              </p:ext>
            </p:extLst>
          </p:nvPr>
        </p:nvGraphicFramePr>
        <p:xfrm>
          <a:off x="651885" y="1447514"/>
          <a:ext cx="7997390" cy="436481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ZWECK UND VORTEILE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ESCHREIBUNG</a:t>
                      </a:r>
                      <a:endParaRPr kumimoji="0" lang="de-DE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7697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Arial" charset="0"/>
                        </a:rPr>
                        <a:t>Reduzierter Stickstoffverbrauch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US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</a:rPr>
                        <a:t>Einfachere Sterilisierung der Verschließmaschine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US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</a:rPr>
                        <a:t>Verbesserte Zugänglichkeit der Verschließmaschine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US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</a:rPr>
                        <a:t>Einfache Wartung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200" b="0" i="0" u="none" strike="noStrike" kern="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Neues Stickstoffspritzgerät ersetzt Tunnel und Gehäuse der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Verschließmaschine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. </a:t>
                      </a:r>
                    </a:p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Das Gerät bläst den Stickstoff in die Flaschenmündungen, Verschließköpfe und </a:t>
                      </a:r>
                      <a:r>
                        <a:rPr lang="en-GB" altLang="it-IT" sz="1200" kern="0" dirty="0" err="1">
                          <a:solidFill>
                            <a:srgbClr val="000000"/>
                          </a:solidFill>
                          <a:latin typeface="+mn-lt"/>
                        </a:rPr>
                        <a:t>Verschlüsse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. </a:t>
                      </a:r>
                      <a:endParaRPr lang="de-DE" altLang="it-IT" sz="1200" kern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Gute Zugänglichkeit für Wartungseingriffe </a:t>
                      </a:r>
                      <a:endParaRPr lang="de-DE" altLang="it-IT" sz="1200" kern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275" y="54279"/>
            <a:ext cx="7992000" cy="936000"/>
          </a:xfrm>
        </p:spPr>
        <p:txBody>
          <a:bodyPr/>
          <a:lstStyle/>
          <a:p>
            <a:r>
              <a:rPr dirty="0"/>
              <a:t>Reduzierter Stickstoffverbrauch und verbesserte Produktsicherheit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033712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Neues Stickstoffspritzgerät für FMa</a:t>
            </a:r>
            <a:endParaRPr lang="de-DE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GB" dirty="0">
                <a:solidFill>
                  <a:srgbClr val="000000"/>
                </a:solidFill>
              </a:rPr>
              <a:t>Nutzen: </a:t>
            </a:r>
            <a:r>
              <a:rPr dirty="0"/>
              <a:t>Kostenoptimierung, Produktqualität</a:t>
            </a:r>
            <a:endParaRPr lang="de-DE" dirty="0">
              <a:solidFill>
                <a:srgbClr val="000000"/>
              </a:solidFill>
            </a:endParaRPr>
          </a:p>
          <a:p>
            <a:r>
              <a:rPr lang="en-GB" dirty="0">
                <a:solidFill>
                  <a:srgbClr val="000000"/>
                </a:solidFill>
              </a:rPr>
              <a:t>Maschine: Abfüllanlagen Sensofill RFH FMa</a:t>
            </a:r>
            <a:endParaRPr lang="de-DE" dirty="0">
              <a:solidFill>
                <a:srgbClr val="000000"/>
              </a:solidFill>
            </a:endParaRPr>
          </a:p>
          <a:p>
            <a:r>
              <a:rPr lang="en-GB" dirty="0">
                <a:solidFill>
                  <a:srgbClr val="000000"/>
                </a:solidFill>
              </a:rPr>
              <a:t>Katalog-Code: SP022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637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65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Calibri</vt:lpstr>
      <vt:lpstr>Wingdings</vt:lpstr>
      <vt:lpstr>Sidel Template 2013</vt:lpstr>
      <vt:lpstr>1_Sidel Template 2013</vt:lpstr>
      <vt:lpstr>think-cell Slide</vt:lpstr>
      <vt:lpstr>think-cell Folie</vt:lpstr>
      <vt:lpstr>Reduzierter Stickstoffverbrauch und verbesserte Produktsicherhei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0T13:20:43Z</dcterms:created>
  <dcterms:modified xsi:type="dcterms:W3CDTF">2021-03-05T15:38:32Z</dcterms:modified>
</cp:coreProperties>
</file>